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6" r:id="rId2"/>
  </p:sldIdLst>
  <p:sldSz cx="9144000" cy="6858000" type="screen4x3"/>
  <p:notesSz cx="6808788" cy="99409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FF6600"/>
    <a:srgbClr val="0B90BF"/>
    <a:srgbClr val="333399"/>
    <a:srgbClr val="66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08" d="100"/>
          <a:sy n="108" d="100"/>
        </p:scale>
        <p:origin x="1704" y="1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6738" y="0"/>
            <a:ext cx="2950475" cy="497046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>
              <a:defRPr sz="1200"/>
            </a:lvl1pPr>
          </a:lstStyle>
          <a:p>
            <a:fld id="{5CB71326-5A66-4047-8E6F-466ACF3D2997}" type="datetimeFigureOut">
              <a:rPr lang="ru-RU" smtClean="0"/>
              <a:pPr/>
              <a:t>07.05.202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70462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77" tIns="45789" rIns="91577" bIns="45789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880" y="4721940"/>
            <a:ext cx="5447030" cy="4473416"/>
          </a:xfrm>
          <a:prstGeom prst="rect">
            <a:avLst/>
          </a:prstGeom>
        </p:spPr>
        <p:txBody>
          <a:bodyPr vert="horz" lIns="91577" tIns="45789" rIns="91577" bIns="45789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2153"/>
            <a:ext cx="2950475" cy="497046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6738" y="9442153"/>
            <a:ext cx="2950475" cy="497046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>
              <a:defRPr sz="1200"/>
            </a:lvl1pPr>
          </a:lstStyle>
          <a:p>
            <a:fld id="{4D125163-8B83-4ADF-8AB7-6C2FDB91F6C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19181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71575" y="1244600"/>
            <a:ext cx="4465638" cy="33480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FDC95A-E73C-4092-8ABF-AE007264C1A2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72564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7.05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7.05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7.05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Номер слайда 2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02C252-D258-485D-B551-BAAD5DA64259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624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7.05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7.05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7.05.202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7.05.2026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7.05.202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7.05.2026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7.05.202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7.05.202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06E36-FD25-4E2D-B0AA-010F637433A0}" type="datetimeFigureOut">
              <a:rPr lang="ru-RU" smtClean="0"/>
              <a:pPr/>
              <a:t>07.05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EAC4781-456F-478B-B0A5-74814EB39A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907" y="1157"/>
          <a:ext cx="851" cy="11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907" y="1157"/>
                        <a:ext cx="851" cy="11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A61ADFC-61B4-422B-BB74-F16AE85C7AB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3128" y="2"/>
            <a:ext cx="85045" cy="11339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70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116963A7-BC97-48B9-8DF6-0262C0929D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504" y="142852"/>
            <a:ext cx="8893652" cy="935534"/>
          </a:xfrm>
        </p:spPr>
        <p:txBody>
          <a:bodyPr>
            <a:noAutofit/>
          </a:bodyPr>
          <a:lstStyle/>
          <a:p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ЙТИНГ МУНИЦИПАЛЬНЫХ ОБРАЗОВАНИЙ ПО УРОВНЮ ОТКРЫТОСТИ БЮДЖЕТНЫХ ДАННЫХ ЗА 2025 ГОД</a:t>
            </a:r>
          </a:p>
        </p:txBody>
      </p:sp>
      <p:sp>
        <p:nvSpPr>
          <p:cNvPr id="29" name="Slide Number Placeholder 2">
            <a:extLst>
              <a:ext uri="{FF2B5EF4-FFF2-40B4-BE49-F238E27FC236}">
                <a16:creationId xmlns:a16="http://schemas.microsoft.com/office/drawing/2014/main" id="{A3562278-64DB-48FE-8465-6EA8171C0F4A}"/>
              </a:ext>
            </a:extLst>
          </p:cNvPr>
          <p:cNvSpPr txBox="1">
            <a:spLocks/>
          </p:cNvSpPr>
          <p:nvPr/>
        </p:nvSpPr>
        <p:spPr>
          <a:xfrm>
            <a:off x="8722703" y="6503967"/>
            <a:ext cx="400050" cy="365125"/>
          </a:xfrm>
          <a:prstGeom prst="rect">
            <a:avLst/>
          </a:prstGeom>
        </p:spPr>
        <p:txBody>
          <a:bodyPr vert="horz" lIns="76635" tIns="38318" rIns="76635" bIns="38318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i="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600" b="1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Box 1"/>
          <p:cNvSpPr txBox="1"/>
          <p:nvPr/>
        </p:nvSpPr>
        <p:spPr>
          <a:xfrm>
            <a:off x="4690361" y="3974648"/>
            <a:ext cx="3818374" cy="1835348"/>
          </a:xfrm>
          <a:prstGeom prst="rect">
            <a:avLst/>
          </a:prstGeom>
        </p:spPr>
        <p:txBody>
          <a:bodyPr wrap="square" lIns="54768" tIns="27384" rIns="54768" bIns="27384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</p:txBody>
      </p:sp>
      <p:sp>
        <p:nvSpPr>
          <p:cNvPr id="11" name="Прямоугольник с двумя скругленными противолежащими углами 10"/>
          <p:cNvSpPr/>
          <p:nvPr/>
        </p:nvSpPr>
        <p:spPr>
          <a:xfrm>
            <a:off x="275059" y="1048004"/>
            <a:ext cx="5290636" cy="4973284"/>
          </a:xfrm>
          <a:prstGeom prst="round2Diag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t" anchorCtr="0"/>
          <a:lstStyle/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ИЙ УРОВЕНЬ ОТКРЫТОСТИ</a:t>
            </a:r>
          </a:p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2 МО:</a:t>
            </a:r>
          </a:p>
          <a:p>
            <a:pPr algn="ctr" defTabSz="273071"/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с двумя скругленными противолежащими углами 18"/>
          <p:cNvSpPr/>
          <p:nvPr/>
        </p:nvSpPr>
        <p:spPr>
          <a:xfrm>
            <a:off x="5841291" y="1048004"/>
            <a:ext cx="2736304" cy="3932373"/>
          </a:xfrm>
          <a:prstGeom prst="round2DiagRect">
            <a:avLst/>
          </a:prstGeom>
          <a:solidFill>
            <a:srgbClr val="FFC000"/>
          </a:solidFill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ctr"/>
          <a:lstStyle/>
          <a:p>
            <a:pPr algn="ctr" defTabSz="273071"/>
            <a:endParaRPr lang="ru-RU" sz="5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5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r>
              <a:rPr lang="ru-RU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УРОВЕНЬ ОТКРЫТОСТИ</a:t>
            </a:r>
          </a:p>
          <a:p>
            <a:pPr algn="ctr" defTabSz="273071"/>
            <a:r>
              <a:rPr lang="ru-RU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 МО:</a:t>
            </a:r>
          </a:p>
          <a:p>
            <a:pPr algn="ctr" defTabSz="273071"/>
            <a:endParaRPr lang="ru-RU" sz="5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ин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ш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рз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зимуро</a:t>
            </a: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Завод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ульдург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лган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асночикой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рчин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рчинско</a:t>
            </a: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Завод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рнышев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тин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илк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7" defTabSz="273071"/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Таблица 2">
            <a:extLst>
              <a:ext uri="{FF2B5EF4-FFF2-40B4-BE49-F238E27FC236}">
                <a16:creationId xmlns:a16="http://schemas.microsoft.com/office/drawing/2014/main" id="{8946903D-030F-4668-A426-4EA5D5D87B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2613877"/>
              </p:ext>
            </p:extLst>
          </p:nvPr>
        </p:nvGraphicFramePr>
        <p:xfrm>
          <a:off x="275060" y="2443251"/>
          <a:ext cx="5290636" cy="28133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02292">
                  <a:extLst>
                    <a:ext uri="{9D8B030D-6E8A-4147-A177-3AD203B41FA5}">
                      <a16:colId xmlns:a16="http://schemas.microsoft.com/office/drawing/2014/main" val="2363133270"/>
                    </a:ext>
                  </a:extLst>
                </a:gridCol>
                <a:gridCol w="2588344">
                  <a:extLst>
                    <a:ext uri="{9D8B030D-6E8A-4147-A177-3AD203B41FA5}">
                      <a16:colId xmlns:a16="http://schemas.microsoft.com/office/drawing/2014/main" val="2932699012"/>
                    </a:ext>
                  </a:extLst>
                </a:gridCol>
              </a:tblGrid>
              <a:tr h="2813397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13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ександрово</a:t>
                      </a:r>
                      <a:r>
                        <a:rPr lang="ru-RU" sz="13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Заводский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лей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байкальский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лар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рым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аснокаменский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ырин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гойтуй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гочин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ловяннин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нон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  <a:defRPr/>
                      </a:pPr>
                      <a:r>
                        <a:rPr lang="ru-RU" sz="13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тровск-Забайкальский</a:t>
                      </a:r>
                      <a:r>
                        <a:rPr lang="ru-RU" sz="125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аргунский 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етенский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унгокочен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унгиро-Олёкмин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лётовский</a:t>
                      </a: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елопугин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илок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. Агинское 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. Чита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. Горный ЗАТО</a:t>
                      </a:r>
                    </a:p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0363259"/>
                  </a:ext>
                </a:extLst>
              </a:tr>
            </a:tbl>
          </a:graphicData>
        </a:graphic>
      </p:graphicFrame>
      <p:sp>
        <p:nvSpPr>
          <p:cNvPr id="14" name="Прямоугольник с двумя скругленными противолежащими углами 16">
            <a:extLst>
              <a:ext uri="{FF2B5EF4-FFF2-40B4-BE49-F238E27FC236}">
                <a16:creationId xmlns:a16="http://schemas.microsoft.com/office/drawing/2014/main" id="{87F62651-9D85-4EF9-B2BE-E5443B743FBD}"/>
              </a:ext>
            </a:extLst>
          </p:cNvPr>
          <p:cNvSpPr/>
          <p:nvPr/>
        </p:nvSpPr>
        <p:spPr>
          <a:xfrm>
            <a:off x="5565695" y="5256648"/>
            <a:ext cx="3436581" cy="1058743"/>
          </a:xfrm>
          <a:prstGeom prst="round2DiagRect">
            <a:avLst/>
          </a:prstGeom>
          <a:solidFill>
            <a:srgbClr val="FF3300">
              <a:alpha val="8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ctr"/>
          <a:lstStyle/>
          <a:p>
            <a:pPr algn="ctr" defTabSz="273071"/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ЗКИЙ  УРОВЕНЬ ОТКРЫТОСТИ</a:t>
            </a:r>
          </a:p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 МО</a:t>
            </a:r>
          </a:p>
        </p:txBody>
      </p:sp>
    </p:spTree>
    <p:extLst>
      <p:ext uri="{BB962C8B-B14F-4D97-AF65-F5344CB8AC3E}">
        <p14:creationId xmlns:p14="http://schemas.microsoft.com/office/powerpoint/2010/main" val="20644224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VnPXHhtzp9iA99fNcWy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70</TotalTime>
  <Words>71</Words>
  <Application>Microsoft Office PowerPoint</Application>
  <PresentationFormat>Экран (4:3)</PresentationFormat>
  <Paragraphs>56</Paragraphs>
  <Slides>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6" baseType="lpstr">
      <vt:lpstr>Arial</vt:lpstr>
      <vt:lpstr>Calibri</vt:lpstr>
      <vt:lpstr>Wingdings</vt:lpstr>
      <vt:lpstr>Тема Office</vt:lpstr>
      <vt:lpstr>think-cell Slide</vt:lpstr>
      <vt:lpstr>РЕЙТИНГ МУНИЦИПАЛЬНЫХ ОБРАЗОВАНИЙ ПО УРОВНЮ ОТКРЫТОСТИ БЮДЖЕТНЫХ ДАННЫХ ЗА 2025 ГОД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ЕЙТИНГ УРОВНЯ ОТКРЫТОСТИ БЮДЖЕТНЫХ ДАННЫХ МУНИЦИПАЛЬНЫХ ОБРАЗОВАНИЙ ЗА 2021</dc:title>
  <dc:creator>Макарова Дарья Сергеевна</dc:creator>
  <cp:lastModifiedBy>Фин2</cp:lastModifiedBy>
  <cp:revision>32</cp:revision>
  <cp:lastPrinted>2025-08-13T00:29:23Z</cp:lastPrinted>
  <dcterms:created xsi:type="dcterms:W3CDTF">2022-06-27T05:53:54Z</dcterms:created>
  <dcterms:modified xsi:type="dcterms:W3CDTF">2026-05-07T03:22:25Z</dcterms:modified>
</cp:coreProperties>
</file>